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6"/>
  </p:notesMasterIdLst>
  <p:sldIdLst>
    <p:sldId id="2147475170" r:id="rId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Revenue PVM By Brands" id="{A19A2A42-E54E-4439-B665-5C6CAB37A07C}">
          <p14:sldIdLst>
            <p14:sldId id="2147475170"/>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103" d="100"/>
          <a:sy n="103" d="100"/>
        </p:scale>
        <p:origin x="898" y="77"/>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microsoft.com/office/2018/10/relationships/authors" Target="authors.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6.07299999999998</cx:pt>
          <cx:pt idx="1">-12.337017299999987</cx:pt>
          <cx:pt idx="2">29.850004699999985</cx:pt>
          <cx:pt idx="3">1.2600000001839362e-05</cx:pt>
          <cx:pt idx="4">0.53500000000000003</cx:pt>
          <cx:pt idx="5">-3.9220000000000002</cx:pt>
          <cx:pt idx="6">300.199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0"/>
      </cx:strDim>
      <cx:numDim type="val">
        <cx:f>Sheet1!$B$2:$B$8</cx:f>
        <cx:lvl ptCount="0" formatCode="Genera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01/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a:t>
            </a:fld>
            <a:endParaRPr lang="en-AE"/>
          </a:p>
        </p:txBody>
      </p:sp>
    </p:spTree>
    <p:extLst>
      <p:ext uri="{BB962C8B-B14F-4D97-AF65-F5344CB8AC3E}">
        <p14:creationId xmlns:p14="http://schemas.microsoft.com/office/powerpoint/2010/main" val="2341625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9/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9/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9/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9/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9/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9/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9/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9/1/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xml"/><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ES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13269709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019219797"/>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908150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2.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38</TotalTime>
  <Words>55</Words>
  <Application>Microsoft Office PowerPoint</Application>
  <PresentationFormat>On-screen Show (16:9)</PresentationFormat>
  <Paragraphs>8</Paragraphs>
  <Slides>1</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0" baseType="lpstr">
      <vt:lpstr>Aptos</vt:lpstr>
      <vt:lpstr>Arial</vt:lpstr>
      <vt:lpstr>Nexa</vt:lpstr>
      <vt:lpstr>Nexa Bold</vt:lpstr>
      <vt:lpstr>Nexa Book</vt:lpstr>
      <vt:lpstr>Nexa Book Italic</vt:lpstr>
      <vt:lpstr>Open Sans</vt:lpstr>
      <vt:lpstr>PricingOne Light Template Oct 2024</vt:lpstr>
      <vt:lpstr>think-cell Slide</vt:lpstr>
      <vt:lpstr>Revenue by Price vs. Volume vs. Mix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Aleaa SALAH</cp:lastModifiedBy>
  <cp:revision>42</cp:revision>
  <dcterms:created xsi:type="dcterms:W3CDTF">2024-07-05T07:54:38Z</dcterms:created>
  <dcterms:modified xsi:type="dcterms:W3CDTF">2025-09-01T12:12: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